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502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32-40AA-9413-65BE63A93C7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332-40AA-9413-65BE63A93C7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332-40AA-9413-65BE63A93C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224304"/>
        <c:axId val="444227664"/>
      </c:barChart>
      <c:catAx>
        <c:axId val="444224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534-48FC-AE10-E9D8E7A7188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534-48FC-AE10-E9D8E7A7188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534-48FC-AE10-E9D8E7A7188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5</c:v>
                </c:pt>
                <c:pt idx="1">
                  <c:v>0.2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534-48FC-AE10-E9D8E7A718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59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E4EA85-1E49-E1BB-E7B0-FA7895F7BC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22DBC12-D148-06D8-A6EE-AE0B24BE31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2DBC12-D148-06D8-A6EE-AE0B24BE3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BF94C17F-AB96-8A4C-14D9-4942822F97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ie / 100% Stacked Bar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43649E7-7F10-11B8-1E75-4FFF82D12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BA39DFFA-1F30-FA57-B863-F904FC4A4A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019AB333-7F99-B8DE-C3DB-F91869C35E3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29C2E464-57C9-DC5D-6A45-DF9040A0131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6" name="Chart Placeholder 12">
            <a:extLst>
              <a:ext uri="{FF2B5EF4-FFF2-40B4-BE49-F238E27FC236}">
                <a16:creationId xmlns:a16="http://schemas.microsoft.com/office/drawing/2014/main" id="{7267E3B0-02AF-7B12-49CF-3EDCC13C9900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Chart 32">
            <a:extLst>
              <a:ext uri="{FF2B5EF4-FFF2-40B4-BE49-F238E27FC236}">
                <a16:creationId xmlns:a16="http://schemas.microsoft.com/office/drawing/2014/main" id="{F1E95DD0-2E4B-98C4-D0D0-4B3E4FE64C57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9528975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6</TotalTime>
  <Words>24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Pie / 100% Stacked 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79</cp:revision>
  <dcterms:created xsi:type="dcterms:W3CDTF">2025-07-09T10:57:17Z</dcterms:created>
  <dcterms:modified xsi:type="dcterms:W3CDTF">2025-10-22T10:11:31Z</dcterms:modified>
  <cp:category/>
</cp:coreProperties>
</file>